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handoutMasters/handoutMaster1.xml" ContentType="application/vnd.openxmlformats-officedocument.presentationml.handoutMaster+xml"/>
  <Override PartName="/ppt/media/image18.svg" ContentType="image/svg+xml"/>
  <Override PartName="/ppt/media/image2.svg" ContentType="image/svg+xml"/>
  <Override PartName="/ppt/media/image4.svg" ContentType="image/svg+xml"/>
  <Override PartName="/ppt/media/image6.svg" ContentType="image/svg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18"/>
  </p:notesMasterIdLst>
  <p:handoutMasterIdLst>
    <p:handoutMasterId r:id="rId19"/>
  </p:handoutMasterIdLst>
  <p:sldIdLst>
    <p:sldId id="260" r:id="rId6"/>
    <p:sldId id="261" r:id="rId7"/>
    <p:sldId id="265" r:id="rId8"/>
    <p:sldId id="263" r:id="rId9"/>
    <p:sldId id="264" r:id="rId10"/>
    <p:sldId id="262" r:id="rId11"/>
    <p:sldId id="266" r:id="rId12"/>
    <p:sldId id="267" r:id="rId13"/>
    <p:sldId id="268" r:id="rId14"/>
    <p:sldId id="269" r:id="rId15"/>
    <p:sldId id="270" r:id="rId16"/>
    <p:sldId id="271" r:id="rId17"/>
  </p:sldIdLst>
  <p:sldSz cx="9144000" cy="5143500" type="screen16x9"/>
  <p:notesSz cx="6797675" cy="9926638"/>
  <p:embeddedFontLst>
    <p:embeddedFont>
      <p:font typeface="Arial Black" panose="020B0A04020102020204" pitchFamily="34" charset="0"/>
      <p:bold r:id="rId20"/>
    </p:embeddedFont>
    <p:embeddedFont>
      <p:font typeface="Orsted Sans Office" panose="020B0604020202020204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910" autoAdjust="0"/>
  </p:normalViewPr>
  <p:slideViewPr>
    <p:cSldViewPr snapToGrid="0" showGuides="1">
      <p:cViewPr>
        <p:scale>
          <a:sx n="100" d="100"/>
          <a:sy n="100" d="100"/>
        </p:scale>
        <p:origin x="180" y="4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508" y="108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20" Type="http://schemas.openxmlformats.org/officeDocument/2006/relationships/font" Target="fonts/font1.fntdata"/><Relationship Id="rId21" Type="http://schemas.openxmlformats.org/officeDocument/2006/relationships/font" Target="fonts/font2.fntdata"/><Relationship Id="rId22" Type="http://schemas.openxmlformats.org/officeDocument/2006/relationships/font" Target="fonts/font3.fntdata"/><Relationship Id="rId23" Type="http://schemas.openxmlformats.org/officeDocument/2006/relationships/font" Target="fonts/font4.fntdata"/><Relationship Id="rId24" Type="http://schemas.openxmlformats.org/officeDocument/2006/relationships/font" Target="fonts/font5.fntdata"/><Relationship Id="rId25" Type="http://schemas.openxmlformats.org/officeDocument/2006/relationships/tags" Target="tags/tag1.xml"/><Relationship Id="rId26" Type="http://schemas.openxmlformats.org/officeDocument/2006/relationships/presProps" Target="presProps.xml"/><Relationship Id="rId27" Type="http://schemas.openxmlformats.org/officeDocument/2006/relationships/viewProps" Target="viewProps.xml"/><Relationship Id="rId28" Type="http://schemas.openxmlformats.org/officeDocument/2006/relationships/theme" Target="theme/theme1.xml"/><Relationship Id="rId29" Type="http://schemas.openxmlformats.org/officeDocument/2006/relationships/tableStyles" Target="tableStyles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image" Target="../media/image17.png"/><Relationship Id="rId3" Type="http://schemas.openxmlformats.org/officeDocument/2006/relationships/image" Target="../media/image18.svg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55D4A059-9CB7-4984-A0A3-D1ED63D23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082" y="812331"/>
            <a:ext cx="426186" cy="116906"/>
          </a:xfrm>
          <a:prstGeom prst="rect">
            <a:avLst/>
          </a:prstGeom>
        </p:spPr>
      </p:pic>
      <p:sp>
        <p:nvSpPr>
          <p:cNvPr id="11" name="Date Placeholder 8">
            <a:extLst>
              <a:ext uri="{FF2B5EF4-FFF2-40B4-BE49-F238E27FC236}">
                <a16:creationId xmlns:a16="http://schemas.microsoft.com/office/drawing/2014/main" id="{4633693E-3C11-4318-8416-FD574D655A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296122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B3831213-7E75-4F0D-9DD0-8445D05C01D9}" type="datetime4">
              <a:rPr lang="en-GB" smtClean="0"/>
              <a:t>20 October 2023</a:t>
            </a:fld>
            <a:endParaRPr lang="en-GB" sz="800" dirty="0"/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A33D291B-924F-480C-AD65-DA290819D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9114307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id="{2DA5D32F-AFD1-4C4E-B7BA-2A7E27AC1F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9296122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Header Placeholder 12">
            <a:extLst>
              <a:ext uri="{FF2B5EF4-FFF2-40B4-BE49-F238E27FC236}">
                <a16:creationId xmlns:a16="http://schemas.microsoft.com/office/drawing/2014/main" id="{885522CB-BE4D-4C54-AC40-77FA61C59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9114307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image" Target="../media/image17.png"/><Relationship Id="rId3" Type="http://schemas.openxmlformats.org/officeDocument/2006/relationships/image" Target="../media/image18.sv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65382C8C-4ED1-42DD-AB05-337D058375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833536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E40FA224-93DF-490C-8EF6-1DE161414D0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2B8AF8AA-2837-4EB0-9BA5-AC7AA02F4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000" y="718813"/>
            <a:ext cx="426186" cy="116906"/>
          </a:xfrm>
          <a:prstGeom prst="rect">
            <a:avLst/>
          </a:prstGeom>
        </p:spPr>
      </p:pic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A1944BE7-84FA-4710-BA57-4BE2B0CF485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38964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9046EAA-4433-4C92-B735-B22741F67B10}" type="datetime4">
              <a:rPr lang="en-GB" smtClean="0"/>
              <a:t>20 October 2023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A8626F51-F86B-400E-AE20-9296DDB80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920782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B6C896A7-B7DA-42DE-8F37-AB19E0AE22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38964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52AF0052-7448-425A-A203-7EA9DA1644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20782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sv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sv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.bin"/><Relationship Id="rId4" Type="http://schemas.openxmlformats.org/officeDocument/2006/relationships/image" Target="../media/image7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7.emf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10" Type="http://schemas.openxmlformats.org/officeDocument/2006/relationships/image" Target="../media/image16.png"/><Relationship Id="rId2" Type="http://schemas.openxmlformats.org/officeDocument/2006/relationships/image" Target="../media/image8.png"/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13.png"/><Relationship Id="rId8" Type="http://schemas.openxmlformats.org/officeDocument/2006/relationships/image" Target="../media/image14.png"/><Relationship Id="rId9" Type="http://schemas.openxmlformats.org/officeDocument/2006/relationships/image" Target="../media/image15.png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2F74A43E-6607-46C8-B233-DB7D97BC96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432000" y="252000"/>
            <a:ext cx="826817" cy="2261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ggund">
            <a:extLst>
              <a:ext uri="{FF2B5EF4-FFF2-40B4-BE49-F238E27FC236}">
                <a16:creationId xmlns:a16="http://schemas.microsoft.com/office/drawing/2014/main" id="{C7711F47-ADAE-4D4A-8344-7C0529E055C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7" name="Slide Number Placeholder 5 (FAST)" hidden="1">
            <a:extLst>
              <a:ext uri="{FF2B5EF4-FFF2-40B4-BE49-F238E27FC236}">
                <a16:creationId xmlns:a16="http://schemas.microsoft.com/office/drawing/2014/main" id="{ACF3DCE2-A025-4EC0-B360-9403076582BD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8CF170-4850-46EE-83F0-5B6A584B3B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dark picture or click on frame and insert picture via Templafy Imag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E15DE9C6-B56E-45C2-A1AC-1F18BB099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083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4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>
            <a:extLst>
              <a:ext uri="{FF2B5EF4-FFF2-40B4-BE49-F238E27FC236}">
                <a16:creationId xmlns:a16="http://schemas.microsoft.com/office/drawing/2014/main" id="{D36016C0-329D-4C37-9E53-C310AFC3E67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41AAAC4F-9DD3-4852-9B3E-BFD2B81673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9EB6E37-ECA3-4E0D-AB3D-C6F9B4A2F2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5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BDBDC-FA75-4FF7-840E-C198C8297EC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113DC2-7993-41A9-98A7-F459F2496C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348328E-6517-4208-A8F7-49B423B926E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solidFill>
                  <a:schemeClr val="tx2"/>
                </a:solidFill>
                <a:latin typeface="+mn-lt"/>
              </a:defRPr>
            </a:lvl6pPr>
            <a:lvl7pPr>
              <a:defRPr>
                <a:solidFill>
                  <a:schemeClr val="tx2"/>
                </a:solidFill>
                <a:latin typeface="+mn-lt"/>
              </a:defRPr>
            </a:lvl7pPr>
            <a:lvl8pPr>
              <a:defRPr>
                <a:solidFill>
                  <a:schemeClr val="tx2"/>
                </a:solidFill>
                <a:latin typeface="+mn-lt"/>
              </a:defRPr>
            </a:lvl8pPr>
            <a:lvl9pPr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8pPr>
            <a:lvl9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0888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C195C5-90D2-493A-A2AC-5CE7E6DAD69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1A5DD-8AF0-4247-9A9E-E145137DBE5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14E8FCED-203A-457F-9F78-815525BBBE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solidFill>
                  <a:schemeClr val="bg1"/>
                </a:solidFill>
                <a:latin typeface="+mn-lt"/>
              </a:defRPr>
            </a:lvl6pPr>
            <a:lvl7pPr>
              <a:defRPr sz="1000">
                <a:solidFill>
                  <a:schemeClr val="bg1"/>
                </a:solidFill>
                <a:latin typeface="+mn-lt"/>
              </a:defRPr>
            </a:lvl7pPr>
            <a:lvl8pPr>
              <a:defRPr sz="1000">
                <a:solidFill>
                  <a:schemeClr val="bg1"/>
                </a:solidFill>
                <a:latin typeface="+mn-lt"/>
              </a:defRPr>
            </a:lvl8pPr>
            <a:lvl9pPr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latin typeface="+mn-lt"/>
              </a:defRPr>
            </a:lvl6pPr>
            <a:lvl7pPr>
              <a:defRPr sz="1000">
                <a:latin typeface="+mn-lt"/>
              </a:defRPr>
            </a:lvl7pPr>
            <a:lvl8pPr>
              <a:defRPr sz="1000">
                <a:latin typeface="+mn-lt"/>
              </a:defRPr>
            </a:lvl8pPr>
            <a:lvl9pPr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570788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8DF04-6FCB-499F-A324-ED1263F151E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A263B8-B88C-4569-BE36-64920329F4C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23C38ED7-BB51-4D7D-9311-F599A1B110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 1">
            <a:extLst>
              <a:ext uri="{FF2B5EF4-FFF2-40B4-BE49-F238E27FC236}">
                <a16:creationId xmlns:a16="http://schemas.microsoft.com/office/drawing/2014/main" id="{1352FE20-58C7-4C02-A5B9-188FFECA9C70}"/>
              </a:ext>
            </a:extLst>
          </p:cNvPr>
          <p:cNvSpPr/>
          <p:nvPr userDrawn="1"/>
        </p:nvSpPr>
        <p:spPr>
          <a:xfrm>
            <a:off x="4618103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Baggrund 1"/>
          <p:cNvSpPr/>
          <p:nvPr userDrawn="1"/>
        </p:nvSpPr>
        <p:spPr>
          <a:xfrm>
            <a:off x="0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8pPr>
            <a:lvl9pPr indent="-216000">
              <a:lnSpc>
                <a:spcPct val="100000"/>
              </a:lnSpc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4"/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50336-BCA5-4C68-91FE-23C5B172396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7DDBC-BDD2-45A0-92D2-5D413E12465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BA7531A-6144-4B03-8510-B075DA49F58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615200" y="1029600"/>
            <a:ext cx="4528800" cy="3420000"/>
          </a:xfrm>
          <a:solidFill>
            <a:schemeClr val="bg2"/>
          </a:solidFill>
        </p:spPr>
        <p:txBody>
          <a:bodyPr lIns="216000" tIns="648000" rIns="216000" bIns="0" anchor="ctr" anchorCtr="0"/>
          <a:lstStyle>
            <a:lvl1pPr marL="0" indent="0" algn="ctr">
              <a:spcAft>
                <a:spcPts val="0"/>
              </a:spcAft>
              <a:buNone/>
              <a:defRPr sz="1000" b="0">
                <a:latin typeface="Orsted Sans Office" panose="00000500000000000000" pitchFamily="2" charset="0"/>
              </a:defRPr>
            </a:lvl1pPr>
          </a:lstStyle>
          <a:p>
            <a:r>
              <a:rPr lang="en-GB" dirty="0"/>
              <a:t>Click icon to add picture</a:t>
            </a:r>
            <a:br>
              <a:rPr lang="en-GB" dirty="0"/>
            </a:br>
            <a:r>
              <a:rPr lang="en-GB" dirty="0"/>
              <a:t>or click on frame and insert picture via Templafy Imag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EB20DF-455E-45F0-BA0A-31B71287B05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D1BE-B971-41F3-8D86-92918FC6C54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D4919216-61E8-4FD6-9705-5838E99F225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362399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292800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8128A13B-9D21-429B-8869-537307ED2FD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36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45" userDrawn="1">
          <p15:clr>
            <a:srgbClr val="FBAE40"/>
          </p15:clr>
        </p15:guide>
        <p15:guide id="7" pos="3963" userDrawn="1">
          <p15:clr>
            <a:srgbClr val="FBAE40"/>
          </p15:clr>
        </p15:guide>
        <p15:guide id="10" pos="1798" userDrawn="1">
          <p15:clr>
            <a:srgbClr val="FBAE40"/>
          </p15:clr>
        </p15:guide>
        <p15:guide id="11" pos="211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653F7-01D6-474A-B06D-33C489D108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B9D83-8D6C-40B3-A6B8-2D1D6203542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65E63BC4-A76A-47BF-B6BA-4C5E281E6E15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567" userDrawn="1">
          <p15:clr>
            <a:srgbClr val="FBAE40"/>
          </p15:clr>
        </p15:guide>
        <p15:guide id="8" orient="horz" pos="1882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336726AB-14A5-4B9C-87C4-AE341AF4CDC7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1D6E24-EF31-40AE-9B17-23D4CEDFF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7113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628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02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F7717-ED54-4A71-BBBA-48BA5FF570C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EE082-8BDA-4F95-ADFD-03075BD8005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C38EDEDE-C2FE-431F-88B2-387DD76107D4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039" userDrawn="1">
          <p15:clr>
            <a:srgbClr val="FBAE40"/>
          </p15:clr>
        </p15:guide>
        <p15:guide id="8" orient="horz" pos="1566" userDrawn="1">
          <p15:clr>
            <a:srgbClr val="FBAE40"/>
          </p15:clr>
        </p15:guide>
        <p15:guide id="9" orient="horz" pos="1882" userDrawn="1">
          <p15:clr>
            <a:srgbClr val="FBAE40"/>
          </p15:clr>
        </p15:guide>
        <p15:guide id="10" pos="272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7020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B471A5BF-BC19-4E62-945E-4AEF3F24F7A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03" userDrawn="1">
          <p15:clr>
            <a:srgbClr val="FBAE40"/>
          </p15:clr>
        </p15:guide>
        <p15:guide id="7" pos="4421" userDrawn="1">
          <p15:clr>
            <a:srgbClr val="FBAE40"/>
          </p15:clr>
        </p15:guide>
        <p15:guide id="11" pos="3038" userDrawn="1">
          <p15:clr>
            <a:srgbClr val="FBAE40"/>
          </p15:clr>
        </p15:guide>
        <p15:guide id="12" pos="272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9" name="Content Placeholder 3"/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1" name="Content Placeholder 4"/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3" name="Content Placeholder 5"/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AC9694-0939-4287-80B8-8D8991B3002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2E6A9-DFF4-459E-9477-51C4E503C3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5EEB90F5-37ED-4E21-B4F3-76D61BEE3A7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88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und">
            <a:extLst>
              <a:ext uri="{FF2B5EF4-FFF2-40B4-BE49-F238E27FC236}">
                <a16:creationId xmlns:a16="http://schemas.microsoft.com/office/drawing/2014/main" id="{BED0A9AC-E171-4E5D-ABD0-556AD3B13530}"/>
              </a:ext>
            </a:extLst>
          </p:cNvPr>
          <p:cNvSpPr/>
          <p:nvPr userDrawn="1"/>
        </p:nvSpPr>
        <p:spPr bwMode="ltGray">
          <a:xfrm>
            <a:off x="4572000" y="0"/>
            <a:ext cx="4572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5" name="Picture Placeholder 1">
            <a:extLst>
              <a:ext uri="{FF2B5EF4-FFF2-40B4-BE49-F238E27FC236}">
                <a16:creationId xmlns:a16="http://schemas.microsoft.com/office/drawing/2014/main" id="{95EC5A00-F373-4B9E-90D0-78C2B446DE2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0" rIns="216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34" name="Title 16">
            <a:extLst>
              <a:ext uri="{FF2B5EF4-FFF2-40B4-BE49-F238E27FC236}">
                <a16:creationId xmlns:a16="http://schemas.microsoft.com/office/drawing/2014/main" id="{2A9B6D3A-1876-4B39-9B5F-BA5E5CEBE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E5168EB-F110-45AB-AB79-DB95008DDE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1082" y="2843212"/>
            <a:ext cx="2559618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7782524-1158-4654-BA5E-A2BD94C17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170B52BE-DEB5-49C4-B6B9-119CBF452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4800" y="4814425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E003746-A877-4C41-AFA0-DA2FDDD32C0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31715F6-207D-4160-8320-A60EC214DB7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E03F9A40-0343-46E2-8058-06615B7B483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8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5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">
            <a:extLst>
              <a:ext uri="{FF2B5EF4-FFF2-40B4-BE49-F238E27FC236}">
                <a16:creationId xmlns:a16="http://schemas.microsoft.com/office/drawing/2014/main" id="{CDFA7363-B2A3-414B-8CD2-9760EB77F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252000" tIns="0" rIns="252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4704384C-A5B7-4110-AAA9-4C8D00426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4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87392D5-D764-4675-937A-382F4E25E4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4000" y="1028256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 marL="1080000" indent="-216000">
              <a:buFont typeface="Arial" panose="020B0604020202020204" pitchFamily="34" charset="0"/>
              <a:buChar char="•"/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082" y="2843212"/>
            <a:ext cx="2701670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149EF0-AA98-42C2-B446-EE6031E780B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7041F-8593-4BC8-A700-DE0919BCDF4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05D4817-301D-4449-8A20-9C81D519D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4280D85E-6FEE-4B7A-AF14-62F0C061AB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133FABFE-960E-4D78-A6EF-C623F5297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7F36C2-643E-40F1-9A8C-BBC22355DDA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846CA-3A6B-4342-A399-29CC6BA99F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62F4F0A3-E514-4920-9CAC-3FB00C6151A3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/>
          </a:solidFill>
        </p:spPr>
        <p:txBody>
          <a:bodyPr tIns="432000" anchor="ctr" anchorCtr="0"/>
          <a:lstStyle>
            <a:lvl1pPr marL="0" indent="0" algn="ctr">
              <a:buNone/>
              <a:defRPr b="0"/>
            </a:lvl1pPr>
          </a:lstStyle>
          <a:p>
            <a:r>
              <a:rPr lang="en-GB" dirty="0"/>
              <a:t>Click icon to add media or click on frame and insert media via Templafy Images</a:t>
            </a:r>
          </a:p>
        </p:txBody>
      </p:sp>
    </p:spTree>
    <p:extLst>
      <p:ext uri="{BB962C8B-B14F-4D97-AF65-F5344CB8AC3E}">
        <p14:creationId xmlns:p14="http://schemas.microsoft.com/office/powerpoint/2010/main" val="3922294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75027CF-613E-459C-A69E-35E31A5FCE55}"/>
              </a:ext>
            </a:extLst>
          </p:cNvPr>
          <p:cNvSpPr/>
          <p:nvPr userDrawn="1"/>
        </p:nvSpPr>
        <p:spPr bwMode="black">
          <a:xfrm>
            <a:off x="432000" y="270000"/>
            <a:ext cx="479123" cy="324717"/>
          </a:xfrm>
          <a:custGeom>
            <a:avLst/>
            <a:gdLst>
              <a:gd name="connsiteX0" fmla="*/ 480771 w 638831"/>
              <a:gd name="connsiteY0" fmla="*/ 0 h 432956"/>
              <a:gd name="connsiteX1" fmla="*/ 638831 w 638831"/>
              <a:gd name="connsiteY1" fmla="*/ 0 h 432956"/>
              <a:gd name="connsiteX2" fmla="*/ 563095 w 638831"/>
              <a:gd name="connsiteY2" fmla="*/ 432956 h 432956"/>
              <a:gd name="connsiteX3" fmla="*/ 330942 w 638831"/>
              <a:gd name="connsiteY3" fmla="*/ 432956 h 432956"/>
              <a:gd name="connsiteX4" fmla="*/ 149829 w 638831"/>
              <a:gd name="connsiteY4" fmla="*/ 0 h 432956"/>
              <a:gd name="connsiteX5" fmla="*/ 307891 w 638831"/>
              <a:gd name="connsiteY5" fmla="*/ 0 h 432956"/>
              <a:gd name="connsiteX6" fmla="*/ 232153 w 638831"/>
              <a:gd name="connsiteY6" fmla="*/ 432956 h 432956"/>
              <a:gd name="connsiteX7" fmla="*/ 0 w 638831"/>
              <a:gd name="connsiteY7" fmla="*/ 432956 h 4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831" h="432956">
                <a:moveTo>
                  <a:pt x="480771" y="0"/>
                </a:moveTo>
                <a:lnTo>
                  <a:pt x="638831" y="0"/>
                </a:lnTo>
                <a:lnTo>
                  <a:pt x="563095" y="432956"/>
                </a:lnTo>
                <a:lnTo>
                  <a:pt x="330942" y="432956"/>
                </a:lnTo>
                <a:close/>
                <a:moveTo>
                  <a:pt x="149829" y="0"/>
                </a:moveTo>
                <a:lnTo>
                  <a:pt x="307891" y="0"/>
                </a:lnTo>
                <a:lnTo>
                  <a:pt x="232153" y="432956"/>
                </a:lnTo>
                <a:lnTo>
                  <a:pt x="0" y="4329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6" y="827088"/>
            <a:ext cx="6961913" cy="2939412"/>
          </a:xfrm>
        </p:spPr>
        <p:txBody>
          <a:bodyPr wrap="square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uot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EA2AC93-6324-493E-AFC2-33DF15EAF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388" y="4128393"/>
            <a:ext cx="6961912" cy="3159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450"/>
              </a:spcAft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3pPr>
            <a:lvl4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4pPr>
            <a:lvl5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6pPr>
            <a:lvl7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7pPr>
            <a:lvl8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8pPr>
            <a:lvl9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180F1A-7E46-46CF-B46A-159E655857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B97192-A29C-4DAD-A2B0-293FBA2E9C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F1110216-271D-4467-8A40-C485C6CEE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21F055B-94C9-4A0C-80D6-A2EAD732B51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7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270000"/>
            <a:ext cx="6961912" cy="3793500"/>
          </a:xfrm>
        </p:spPr>
        <p:txBody>
          <a:bodyPr wrap="square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&amp;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0559A7-B871-4D4D-B475-C92C1FE8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EEDEE-4E49-4561-A93D-7911464B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5762D3-1F42-4230-8AE5-57CA010216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5045C851-08B9-4003-95B0-54D60818665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352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CC1A041A-5ACA-45CA-AD32-97622667D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027113"/>
            <a:ext cx="6120900" cy="2634087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hank you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827A5D07-EA8D-4757-A840-AD94A5426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97E70A84-94D6-402C-9DB4-EF5D384D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6" hidden="1">
            <a:extLst>
              <a:ext uri="{FF2B5EF4-FFF2-40B4-BE49-F238E27FC236}">
                <a16:creationId xmlns:a16="http://schemas.microsoft.com/office/drawing/2014/main" id="{269723D8-1C78-43E9-9FA9-6570E26430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22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6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295F4698-EF31-45F5-96F9-2BAEA047441C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2453A56-9681-482E-B234-77967782C4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light picture using the Insert tab › Pictures or insert picture via Templafy Images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054CD7CD-654A-4448-B982-0A70FAD0D7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DAFF61-D1B8-4F91-B1DF-6C41AF2547B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2922E-8E73-43CA-88A4-1E6E2AE593D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CD799328-F495-4C31-AD22-AE97BE20781A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6396" y="1034422"/>
            <a:ext cx="1980000" cy="3394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baseline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via Templafy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5370822" y="1221095"/>
            <a:ext cx="507502" cy="748278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02144" y="26919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07491" y="1034423"/>
            <a:ext cx="1980000" cy="362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GB" sz="1200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87491" y="1450911"/>
            <a:ext cx="283720" cy="407525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5371018" y="2153143"/>
            <a:ext cx="255903" cy="241280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02" y="1146295"/>
            <a:ext cx="488138" cy="73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7C6D8E13-F0A9-435D-9036-09F4FBFA7C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800" y="1034423"/>
            <a:ext cx="1980000" cy="3596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you will find folders such as: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tle Slides, Design Elements, Maps and many more categori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you will find folders such as: Flags, Pictogram, Arrow and many more work fil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675" b="1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16">
            <a:extLst>
              <a:ext uri="{FF2B5EF4-FFF2-40B4-BE49-F238E27FC236}">
                <a16:creationId xmlns:a16="http://schemas.microsoft.com/office/drawing/2014/main" id="{B367A6D6-7164-4A6D-BAC6-3F42961A75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4465" y="2905342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2570CFF1-A3F5-41FA-AA2D-BA19283075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4465" y="4022417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C7950F-B500-469D-A258-255A3518B40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94464" y="3511990"/>
            <a:ext cx="356571" cy="132572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31800" y="336535"/>
            <a:ext cx="8278813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19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 dirty="0">
                <a:solidFill>
                  <a:schemeClr val="bg1"/>
                </a:solidFill>
              </a:rPr>
              <a:t>If you see any </a:t>
            </a:r>
            <a:r>
              <a:rPr lang="en-GB" sz="33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 dirty="0">
                <a:solidFill>
                  <a:schemeClr val="bg1"/>
                </a:solidFill>
              </a:rPr>
              <a:t>one</a:t>
            </a:r>
            <a:r>
              <a:rPr lang="en-GB" sz="3300" b="1" i="1" noProof="0" dirty="0">
                <a:solidFill>
                  <a:schemeClr val="bg1"/>
                </a:solidFill>
              </a:rPr>
              <a:t>,</a:t>
            </a:r>
            <a:br>
              <a:rPr lang="en-GB" sz="3300" b="0" i="0" noProof="0" dirty="0">
                <a:solidFill>
                  <a:schemeClr val="bg1"/>
                </a:solidFill>
              </a:rPr>
            </a:br>
            <a:r>
              <a:rPr lang="en-GB" sz="33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33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 dirty="0">
                <a:solidFill>
                  <a:schemeClr val="bg1"/>
                </a:solidFill>
              </a:rPr>
            </a:br>
            <a:br>
              <a:rPr lang="en-GB" sz="2100" b="0" noProof="0" dirty="0">
                <a:solidFill>
                  <a:schemeClr val="bg1"/>
                </a:solidFill>
              </a:rPr>
            </a:br>
            <a:endParaRPr lang="en-GB" sz="21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 dirty="0">
                <a:solidFill>
                  <a:schemeClr val="bg1"/>
                </a:solidFill>
              </a:rPr>
              <a:t>Do not use </a:t>
            </a:r>
            <a:endParaRPr lang="en-GB" sz="18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664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200" b="0" noProof="0" dirty="0">
                <a:solidFill>
                  <a:schemeClr val="bg1"/>
                </a:solidFill>
              </a:rPr>
            </a:br>
            <a:endParaRPr lang="en-GB" sz="12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139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 -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1EEB37D-7200-466D-8126-8B9017DECD8B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431969" y="1143346"/>
            <a:ext cx="8286100" cy="276999"/>
            <a:chOff x="1792773" y="2085631"/>
            <a:chExt cx="8649951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3278662" y="2085631"/>
              <a:ext cx="642632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277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24780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768928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5920281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866535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431784" y="1431071"/>
            <a:ext cx="8276616" cy="276999"/>
            <a:chOff x="1792768" y="2616963"/>
            <a:chExt cx="8650728" cy="369332"/>
          </a:xfrm>
          <a:noFill/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3281438" y="2616963"/>
              <a:ext cx="6433325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2768" y="2616963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25552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776308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592685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8673839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431802" y="1714096"/>
            <a:ext cx="8277502" cy="276999"/>
            <a:chOff x="2261179" y="3155687"/>
            <a:chExt cx="8173718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3667612" y="3155687"/>
              <a:ext cx="6077933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1179" y="3155687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43902" y="3155687"/>
              <a:ext cx="59099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91417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166884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876212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431799" y="1999469"/>
            <a:ext cx="8277503" cy="276999"/>
            <a:chOff x="2261179" y="3694411"/>
            <a:chExt cx="8173718" cy="369332"/>
          </a:xfrm>
          <a:noFill/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3667612" y="3694411"/>
              <a:ext cx="6077933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1179" y="3694411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43902" y="3694411"/>
              <a:ext cx="590995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914175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166886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8762125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65E74-A6E6-40F4-946C-FFD2950A9E2B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E2347-D054-4BE1-B696-594B5B14D4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AE4B4-561D-4BE3-9774-6EED273A0A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9209CACE-99A8-4426-9195-5179941423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54" name="Slide Number Placeholder 5 (FAST)">
            <a:extLst>
              <a:ext uri="{FF2B5EF4-FFF2-40B4-BE49-F238E27FC236}">
                <a16:creationId xmlns:a16="http://schemas.microsoft.com/office/drawing/2014/main" id="{0EE03122-080A-448B-8ECB-6C5DA2A8E4B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9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- 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2C75C55-8251-4D96-98FF-6B0D5D924280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433389" y="1155114"/>
            <a:ext cx="8438812" cy="276999"/>
            <a:chOff x="1830131" y="2085631"/>
            <a:chExt cx="6631327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863041" y="2085631"/>
              <a:ext cx="559841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 defTabSz="7000700">
                <a:tabLst>
                  <a:tab pos="7134047" algn="l"/>
                </a:tabLst>
              </a:pPr>
              <a:r>
                <a:rPr lang="en-GB" sz="405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30131" y="2085631"/>
              <a:ext cx="25116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880024" y="1714064"/>
            <a:ext cx="7992174" cy="276999"/>
            <a:chOff x="2070583" y="2085631"/>
            <a:chExt cx="6390874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27181" y="2085631"/>
              <a:ext cx="54342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27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7058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27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E03093-7FDA-45E2-9ECD-2DB190A5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7EF7F-6E87-4AD5-9A77-ACDC47ED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B7FB6307-7921-4F62-9567-7CE4D5ED6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4C3C721D-4D46-4B5F-9280-22EBC4B4C94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18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C97E494B-1242-4CDF-8717-F2C28081C7B1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BD095B-30F1-4036-8224-02A6852D52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dark picture using the Insert tab › Pictures or insert picture via Templafy Images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1C420F0E-28F4-45E9-AEF3-1A90B860DE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68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m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029600"/>
            <a:ext cx="12096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9:00-10:00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901" y="1029600"/>
            <a:ext cx="68033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17D078-86DA-42DB-B911-886B29E5F76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6D7C61-B973-4F81-8768-45AD5C0D34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D92C097-0F71-4A74-B24B-EA803C23A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4" name="Slide Number Placeholder 5 (FAST)">
            <a:extLst>
              <a:ext uri="{FF2B5EF4-FFF2-40B4-BE49-F238E27FC236}">
                <a16:creationId xmlns:a16="http://schemas.microsoft.com/office/drawing/2014/main" id="{E2752BD8-BE4E-4AD0-A94A-BD3DC589BC7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1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1029600"/>
            <a:ext cx="8276400" cy="342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5" name="Slide Number Placeholder 5 (FAST)">
            <a:extLst>
              <a:ext uri="{FF2B5EF4-FFF2-40B4-BE49-F238E27FC236}">
                <a16:creationId xmlns:a16="http://schemas.microsoft.com/office/drawing/2014/main" id="{8363E194-0C85-4CEF-ACEE-EF5BAD2B850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584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i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827088"/>
            <a:ext cx="6948000" cy="2404812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CAB55B8-171B-4F1C-833B-2E4E8489F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000" y="250825"/>
            <a:ext cx="6948000" cy="576263"/>
          </a:xfrm>
        </p:spPr>
        <p:txBody>
          <a:bodyPr tIns="0" bIns="0" anchor="t" anchorCtr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i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113E86-62B0-4A42-8910-20CA5360F8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81767-1FB6-446D-91F4-4B622059F5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E278556-6C06-4435-A2AE-EA25A1568A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1AC19423-0B5F-4075-BF2C-917496EB3979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70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50825"/>
            <a:ext cx="6948000" cy="3542675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9D778-5323-4710-AF37-B75701896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9412F9-6B5D-4840-B0BF-C93A26CF7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6201C7F1-CEFA-461D-821F-AB5BD61F2D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73ED603D-6388-4533-B1AD-A8A9B97A82B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0B4DB74D-201F-4D10-88F9-7058A4F6DAB5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34AB8DD2-BA18-481C-B2B2-070E0605BDA0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A29CC775-EF9B-4EFE-84DC-55B293A21D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light picture or click on frame and insert picture via Templafy Images</a:t>
            </a:r>
          </a:p>
        </p:txBody>
      </p:sp>
      <p:sp>
        <p:nvSpPr>
          <p:cNvPr id="21" name="Text Placeholder logo">
            <a:extLst>
              <a:ext uri="{FF2B5EF4-FFF2-40B4-BE49-F238E27FC236}">
                <a16:creationId xmlns:a16="http://schemas.microsoft.com/office/drawing/2014/main" id="{233F969C-C7AD-4BCC-B5FD-087EAB2C4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" Type="http://schemas.openxmlformats.org/officeDocument/2006/relationships/slideLayout" Target="../slideLayouts/slideLayout3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theme" Target="../theme/theme1.xml"/><Relationship Id="rId36" Type="http://schemas.openxmlformats.org/officeDocument/2006/relationships/tags" Target="../tags/tag2.xml"/><Relationship Id="rId37" Type="http://schemas.openxmlformats.org/officeDocument/2006/relationships/tags" Target="../tags/tag3.xml"/><Relationship Id="rId38" Type="http://schemas.openxmlformats.org/officeDocument/2006/relationships/tags" Target="../tags/tag4.xml"/><Relationship Id="rId3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40" Type="http://schemas.openxmlformats.org/officeDocument/2006/relationships/tags" Target="../tags/tag6.xml"/><Relationship Id="rId41" Type="http://schemas.openxmlformats.org/officeDocument/2006/relationships/tags" Target="../tags/tag7.xml"/><Relationship Id="rId42" Type="http://schemas.openxmlformats.org/officeDocument/2006/relationships/tags" Target="../tags/tag8.xml"/><Relationship Id="rId43" Type="http://schemas.openxmlformats.org/officeDocument/2006/relationships/tags" Target="../tags/tag9.xml"/><Relationship Id="rId44" Type="http://schemas.openxmlformats.org/officeDocument/2006/relationships/tags" Target="../tags/tag10.xml"/><Relationship Id="rId45" Type="http://schemas.openxmlformats.org/officeDocument/2006/relationships/tags" Target="../tags/tag11.xml"/><Relationship Id="rId46" Type="http://schemas.openxmlformats.org/officeDocument/2006/relationships/tags" Target="../tags/tag12.xml"/><Relationship Id="rId47" Type="http://schemas.openxmlformats.org/officeDocument/2006/relationships/tags" Target="../tags/tag13.xml"/><Relationship Id="rId48" Type="http://schemas.openxmlformats.org/officeDocument/2006/relationships/tags" Target="../tags/tag14.xml"/><Relationship Id="rId49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50" Type="http://schemas.openxmlformats.org/officeDocument/2006/relationships/tags" Target="../tags/tag16.xml"/><Relationship Id="rId51" Type="http://schemas.openxmlformats.org/officeDocument/2006/relationships/tags" Target="../tags/tag17.xml"/><Relationship Id="rId52" Type="http://schemas.openxmlformats.org/officeDocument/2006/relationships/tags" Target="../tags/tag18.xml"/><Relationship Id="rId53" Type="http://schemas.openxmlformats.org/officeDocument/2006/relationships/tags" Target="../tags/tag19.xml"/><Relationship Id="rId54" Type="http://schemas.openxmlformats.org/officeDocument/2006/relationships/tags" Target="../tags/tag20.xml"/><Relationship Id="rId55" Type="http://schemas.openxmlformats.org/officeDocument/2006/relationships/tags" Target="../tags/tag21.xml"/><Relationship Id="rId56" Type="http://schemas.openxmlformats.org/officeDocument/2006/relationships/tags" Target="../tags/tag22.xml"/><Relationship Id="rId57" Type="http://schemas.openxmlformats.org/officeDocument/2006/relationships/image" Target="../media/image1.png"/><Relationship Id="rId58" Type="http://schemas.openxmlformats.org/officeDocument/2006/relationships/image" Target="../media/image2.svg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029599"/>
            <a:ext cx="8280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5BBB29C-AF5D-474D-8DC6-C992E73BDC22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7200" y="4806187"/>
            <a:ext cx="7866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12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dirty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grpSp>
        <p:nvGrpSpPr>
          <p:cNvPr id="8" name="Harvey 8" hidden="1">
            <a:extLst>
              <a:ext uri="{FF2B5EF4-FFF2-40B4-BE49-F238E27FC236}">
                <a16:creationId xmlns:a16="http://schemas.microsoft.com/office/drawing/2014/main" id="{B5C3E6DC-9028-49BB-B3A7-9838BAB4A3C2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10" name="Harvey 0/8 [0]">
              <a:extLst>
                <a:ext uri="{FF2B5EF4-FFF2-40B4-BE49-F238E27FC236}">
                  <a16:creationId xmlns:a16="http://schemas.microsoft.com/office/drawing/2014/main" id="{D73F2B36-99AF-452E-A4CE-30A82C0E46E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Harvey 1/8 [1]">
              <a:extLst>
                <a:ext uri="{FF2B5EF4-FFF2-40B4-BE49-F238E27FC236}">
                  <a16:creationId xmlns:a16="http://schemas.microsoft.com/office/drawing/2014/main" id="{E76D02E5-0569-48CE-BCC2-CF833134036C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Harvey 2/8 [2]">
              <a:extLst>
                <a:ext uri="{FF2B5EF4-FFF2-40B4-BE49-F238E27FC236}">
                  <a16:creationId xmlns:a16="http://schemas.microsoft.com/office/drawing/2014/main" id="{F7403225-3E54-4050-8105-58E80016385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Harvey 3/8 [3]">
              <a:extLst>
                <a:ext uri="{FF2B5EF4-FFF2-40B4-BE49-F238E27FC236}">
                  <a16:creationId xmlns:a16="http://schemas.microsoft.com/office/drawing/2014/main" id="{A3824D64-51BD-49DE-BBA9-3A7E20B6467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6" name="Harvey 4/8 [4]">
              <a:extLst>
                <a:ext uri="{FF2B5EF4-FFF2-40B4-BE49-F238E27FC236}">
                  <a16:creationId xmlns:a16="http://schemas.microsoft.com/office/drawing/2014/main" id="{39D19455-DC99-4361-9ACB-F108ED0581AF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7" name="Harvey 5/8 [5]">
              <a:extLst>
                <a:ext uri="{FF2B5EF4-FFF2-40B4-BE49-F238E27FC236}">
                  <a16:creationId xmlns:a16="http://schemas.microsoft.com/office/drawing/2014/main" id="{DD06353C-A97B-4A96-8304-54F233F832E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8" name="Harvey 6/8 [6]">
              <a:extLst>
                <a:ext uri="{FF2B5EF4-FFF2-40B4-BE49-F238E27FC236}">
                  <a16:creationId xmlns:a16="http://schemas.microsoft.com/office/drawing/2014/main" id="{9E343501-3E40-406B-8018-8649EB8FA51C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9" name="Harvey 7/8 [7]">
              <a:extLst>
                <a:ext uri="{FF2B5EF4-FFF2-40B4-BE49-F238E27FC236}">
                  <a16:creationId xmlns:a16="http://schemas.microsoft.com/office/drawing/2014/main" id="{8F4C5207-5473-4EF0-BD4D-341E98E5C58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Harvey 8/8 [8]">
              <a:extLst>
                <a:ext uri="{FF2B5EF4-FFF2-40B4-BE49-F238E27FC236}">
                  <a16:creationId xmlns:a16="http://schemas.microsoft.com/office/drawing/2014/main" id="{7422FA6C-8552-471A-B0EB-0F92F10332B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Harvey 4" hidden="1">
            <a:extLst>
              <a:ext uri="{FF2B5EF4-FFF2-40B4-BE49-F238E27FC236}">
                <a16:creationId xmlns:a16="http://schemas.microsoft.com/office/drawing/2014/main" id="{413A4284-8E26-4668-AF73-C488D2680E2F}"/>
              </a:ext>
            </a:extLst>
          </p:cNvPr>
          <p:cNvGrpSpPr>
            <a:grpSpLocks/>
          </p:cNvGrpSpPr>
          <p:nvPr userDrawn="1">
            <p:custDataLst>
              <p:tags r:id="rId37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2" name="Harvey 0/4 [0]">
              <a:extLst>
                <a:ext uri="{FF2B5EF4-FFF2-40B4-BE49-F238E27FC236}">
                  <a16:creationId xmlns:a16="http://schemas.microsoft.com/office/drawing/2014/main" id="{2BE1A3E0-EED3-45DD-807D-82037D3B494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" name="Harvey 1/4 [1]">
              <a:extLst>
                <a:ext uri="{FF2B5EF4-FFF2-40B4-BE49-F238E27FC236}">
                  <a16:creationId xmlns:a16="http://schemas.microsoft.com/office/drawing/2014/main" id="{55524878-8D3A-4A68-90F5-C1C6AF43E44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" name="Harvey 2/4 [2]">
              <a:extLst>
                <a:ext uri="{FF2B5EF4-FFF2-40B4-BE49-F238E27FC236}">
                  <a16:creationId xmlns:a16="http://schemas.microsoft.com/office/drawing/2014/main" id="{DBEAEB5F-E6DE-4E07-B114-F9A1E82C21A1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5" name="Harvey 3/4 [3]">
              <a:extLst>
                <a:ext uri="{FF2B5EF4-FFF2-40B4-BE49-F238E27FC236}">
                  <a16:creationId xmlns:a16="http://schemas.microsoft.com/office/drawing/2014/main" id="{F59A9C23-DDA2-4A9A-B41D-846ADBB2108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6" name="Harvey 4/4 [4]">
              <a:extLst>
                <a:ext uri="{FF2B5EF4-FFF2-40B4-BE49-F238E27FC236}">
                  <a16:creationId xmlns:a16="http://schemas.microsoft.com/office/drawing/2014/main" id="{144E6F3E-7AFB-4D14-8669-31C8DF74593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Harvey 3" hidden="1">
            <a:extLst>
              <a:ext uri="{FF2B5EF4-FFF2-40B4-BE49-F238E27FC236}">
                <a16:creationId xmlns:a16="http://schemas.microsoft.com/office/drawing/2014/main" id="{B2986398-423E-40E4-B68A-4DA28DFDBC0E}"/>
              </a:ext>
            </a:extLst>
          </p:cNvPr>
          <p:cNvGrpSpPr>
            <a:grpSpLocks/>
          </p:cNvGrpSpPr>
          <p:nvPr userDrawn="1">
            <p:custDataLst>
              <p:tags r:id="rId38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8" name="Harvey 0/3 [0]">
              <a:extLst>
                <a:ext uri="{FF2B5EF4-FFF2-40B4-BE49-F238E27FC236}">
                  <a16:creationId xmlns:a16="http://schemas.microsoft.com/office/drawing/2014/main" id="{BF13D4D1-38BB-47B1-918E-B24CD24C6794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" name="Harvey 1/3 [1]">
              <a:extLst>
                <a:ext uri="{FF2B5EF4-FFF2-40B4-BE49-F238E27FC236}">
                  <a16:creationId xmlns:a16="http://schemas.microsoft.com/office/drawing/2014/main" id="{9B1A069F-AC5A-4A39-9A08-0B08F9DA5B6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0" name="Harvey 2/3 [2]">
              <a:extLst>
                <a:ext uri="{FF2B5EF4-FFF2-40B4-BE49-F238E27FC236}">
                  <a16:creationId xmlns:a16="http://schemas.microsoft.com/office/drawing/2014/main" id="{A727ACA9-73A3-4AC8-BFEF-EB8A2373640A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1" name="Harvey 3/3 [3]">
              <a:extLst>
                <a:ext uri="{FF2B5EF4-FFF2-40B4-BE49-F238E27FC236}">
                  <a16:creationId xmlns:a16="http://schemas.microsoft.com/office/drawing/2014/main" id="{30F9E70B-9B8F-455C-A9B1-FA09C6044BFF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raffic lights Red" hidden="1">
            <a:extLst>
              <a:ext uri="{FF2B5EF4-FFF2-40B4-BE49-F238E27FC236}">
                <a16:creationId xmlns:a16="http://schemas.microsoft.com/office/drawing/2014/main" id="{D60F9D9B-EC56-49F4-8772-2D0653904A04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E85757"/>
          </a:solidFill>
          <a:ln>
            <a:solidFill>
              <a:srgbClr val="E8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2" name="Traffic lights Yellow" hidden="1">
            <a:extLst>
              <a:ext uri="{FF2B5EF4-FFF2-40B4-BE49-F238E27FC236}">
                <a16:creationId xmlns:a16="http://schemas.microsoft.com/office/drawing/2014/main" id="{AA0C3F70-A9D3-45D8-B045-61F08EAB5310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F3D779"/>
          </a:solidFill>
          <a:ln>
            <a:solidFill>
              <a:srgbClr val="F3D7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3" name="Traffic lights Green" hidden="1">
            <a:extLst>
              <a:ext uri="{FF2B5EF4-FFF2-40B4-BE49-F238E27FC236}">
                <a16:creationId xmlns:a16="http://schemas.microsoft.com/office/drawing/2014/main" id="{C90A57ED-36FE-46E1-AE9B-434A19EB85D6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32" name="Call out 1 [Sticker]" hidden="1">
            <a:extLst>
              <a:ext uri="{FF2B5EF4-FFF2-40B4-BE49-F238E27FC236}">
                <a16:creationId xmlns:a16="http://schemas.microsoft.com/office/drawing/2014/main" id="{B7DA51AC-55CB-4274-99F5-F4F49314FD0A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703942" cy="524295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2000" tIns="72000" rIns="72000" bIns="144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Call out 2 [Sticker]" hidden="1">
            <a:extLst>
              <a:ext uri="{FF2B5EF4-FFF2-40B4-BE49-F238E27FC236}">
                <a16:creationId xmlns:a16="http://schemas.microsoft.com/office/drawing/2014/main" id="{60D09F83-F724-4FAB-B781-E8292AEF07B4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472053" cy="9951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4" name="Call out 3 [Sticker]" hidden="1">
            <a:extLst>
              <a:ext uri="{FF2B5EF4-FFF2-40B4-BE49-F238E27FC236}">
                <a16:creationId xmlns:a16="http://schemas.microsoft.com/office/drawing/2014/main" id="{97B57B16-C10A-4201-8AC7-D97E350A6AFF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750706" cy="1183503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5" name="Call out 4 [Sticker]" hidden="1">
            <a:extLst>
              <a:ext uri="{FF2B5EF4-FFF2-40B4-BE49-F238E27FC236}">
                <a16:creationId xmlns:a16="http://schemas.microsoft.com/office/drawing/2014/main" id="{79ECB79A-60F9-4A61-AC9F-6FA204806232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2449329" cy="15926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32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6" name="Call out 5 [Sticker]" hidden="1">
            <a:extLst>
              <a:ext uri="{FF2B5EF4-FFF2-40B4-BE49-F238E27FC236}">
                <a16:creationId xmlns:a16="http://schemas.microsoft.com/office/drawing/2014/main" id="{EA30F7B7-8A62-4C5C-ABE3-57A7E8C4269E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4510861" cy="1440206"/>
          </a:xfrm>
          <a:custGeom>
            <a:avLst/>
            <a:gdLst>
              <a:gd name="connsiteX0" fmla="*/ 1428011 w 1642145"/>
              <a:gd name="connsiteY0" fmla="*/ 0 h 524296"/>
              <a:gd name="connsiteX1" fmla="*/ 1642145 w 1642145"/>
              <a:gd name="connsiteY1" fmla="*/ 215977 h 524296"/>
              <a:gd name="connsiteX2" fmla="*/ 1471167 w 1642145"/>
              <a:gd name="connsiteY2" fmla="*/ 427566 h 524296"/>
              <a:gd name="connsiteX3" fmla="*/ 1428657 w 1642145"/>
              <a:gd name="connsiteY3" fmla="*/ 431889 h 524296"/>
              <a:gd name="connsiteX4" fmla="*/ 1428657 w 1642145"/>
              <a:gd name="connsiteY4" fmla="*/ 431955 h 524296"/>
              <a:gd name="connsiteX5" fmla="*/ 492663 w 1642145"/>
              <a:gd name="connsiteY5" fmla="*/ 431955 h 524296"/>
              <a:gd name="connsiteX6" fmla="*/ 487573 w 1642145"/>
              <a:gd name="connsiteY6" fmla="*/ 432471 h 524296"/>
              <a:gd name="connsiteX7" fmla="*/ 237118 w 1642145"/>
              <a:gd name="connsiteY7" fmla="*/ 432471 h 524296"/>
              <a:gd name="connsiteX8" fmla="*/ 237118 w 1642145"/>
              <a:gd name="connsiteY8" fmla="*/ 524296 h 524296"/>
              <a:gd name="connsiteX9" fmla="*/ 0 w 1642145"/>
              <a:gd name="connsiteY9" fmla="*/ 262149 h 524296"/>
              <a:gd name="connsiteX10" fmla="*/ 237118 w 1642145"/>
              <a:gd name="connsiteY10" fmla="*/ 1 h 524296"/>
              <a:gd name="connsiteX11" fmla="*/ 487573 w 1642145"/>
              <a:gd name="connsiteY11" fmla="*/ 1 h 524296"/>
              <a:gd name="connsiteX12" fmla="*/ 493340 w 1642145"/>
              <a:gd name="connsiteY12" fmla="*/ 577 h 524296"/>
              <a:gd name="connsiteX13" fmla="*/ 1422336 w 1642145"/>
              <a:gd name="connsiteY13" fmla="*/ 577 h 52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2145" h="524296">
                <a:moveTo>
                  <a:pt x="1428011" y="0"/>
                </a:moveTo>
                <a:cubicBezTo>
                  <a:pt x="1546274" y="0"/>
                  <a:pt x="1642145" y="96696"/>
                  <a:pt x="1642145" y="215977"/>
                </a:cubicBezTo>
                <a:cubicBezTo>
                  <a:pt x="1642145" y="320348"/>
                  <a:pt x="1568744" y="407427"/>
                  <a:pt x="1471167" y="427566"/>
                </a:cubicBezTo>
                <a:lnTo>
                  <a:pt x="1428657" y="431889"/>
                </a:lnTo>
                <a:lnTo>
                  <a:pt x="1428657" y="431955"/>
                </a:lnTo>
                <a:lnTo>
                  <a:pt x="492663" y="431955"/>
                </a:lnTo>
                <a:lnTo>
                  <a:pt x="487573" y="432471"/>
                </a:lnTo>
                <a:cubicBezTo>
                  <a:pt x="487573" y="432471"/>
                  <a:pt x="487573" y="432471"/>
                  <a:pt x="237118" y="432471"/>
                </a:cubicBezTo>
                <a:cubicBezTo>
                  <a:pt x="237118" y="432471"/>
                  <a:pt x="237118" y="432471"/>
                  <a:pt x="237118" y="524296"/>
                </a:cubicBezTo>
                <a:cubicBezTo>
                  <a:pt x="105221" y="524296"/>
                  <a:pt x="0" y="407293"/>
                  <a:pt x="0" y="262149"/>
                </a:cubicBezTo>
                <a:cubicBezTo>
                  <a:pt x="0" y="117005"/>
                  <a:pt x="105221" y="1"/>
                  <a:pt x="237118" y="1"/>
                </a:cubicBezTo>
                <a:cubicBezTo>
                  <a:pt x="237118" y="1"/>
                  <a:pt x="237118" y="1"/>
                  <a:pt x="487573" y="1"/>
                </a:cubicBezTo>
                <a:lnTo>
                  <a:pt x="493340" y="577"/>
                </a:lnTo>
                <a:lnTo>
                  <a:pt x="1422336" y="5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2000" tIns="72000" rIns="72000" bIns="360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ck to add text</a:t>
            </a:r>
          </a:p>
        </p:txBody>
      </p:sp>
      <p:sp>
        <p:nvSpPr>
          <p:cNvPr id="37" name="Comment box [Sticker]" hidden="1">
            <a:extLst>
              <a:ext uri="{FF2B5EF4-FFF2-40B4-BE49-F238E27FC236}">
                <a16:creationId xmlns:a16="http://schemas.microsoft.com/office/drawing/2014/main" id="{E2D24638-2C59-445A-A356-D83768687C04}"/>
              </a:ext>
            </a:extLst>
          </p:cNvPr>
          <p:cNvSpPr/>
          <p:nvPr userDrawn="1"/>
        </p:nvSpPr>
        <p:spPr>
          <a:xfrm>
            <a:off x="9214671" y="-30083"/>
            <a:ext cx="1687256" cy="576000"/>
          </a:xfrm>
          <a:prstGeom prst="roundRect">
            <a:avLst>
              <a:gd name="adj" fmla="val 0"/>
            </a:avLst>
          </a:prstGeom>
          <a:solidFill>
            <a:srgbClr val="FDD779">
              <a:alpha val="90000"/>
            </a:srgb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rgbClr val="FF0000"/>
                </a:solidFill>
              </a:rPr>
              <a:t>Comment box</a:t>
            </a:r>
            <a:endParaRPr lang="en-GB" sz="1000" noProof="0" dirty="0">
              <a:solidFill>
                <a:srgbClr val="FF0000"/>
              </a:solidFill>
            </a:endParaRPr>
          </a:p>
        </p:txBody>
      </p:sp>
      <p:sp>
        <p:nvSpPr>
          <p:cNvPr id="38" name="Preliminary [Sticker]" hidden="1">
            <a:extLst>
              <a:ext uri="{FF2B5EF4-FFF2-40B4-BE49-F238E27FC236}">
                <a16:creationId xmlns:a16="http://schemas.microsoft.com/office/drawing/2014/main" id="{E5C38300-1B57-4EFA-A738-56C162EEB378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Preliminary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39" name="For discussion [Sticker]" hidden="1">
            <a:extLst>
              <a:ext uri="{FF2B5EF4-FFF2-40B4-BE49-F238E27FC236}">
                <a16:creationId xmlns:a16="http://schemas.microsoft.com/office/drawing/2014/main" id="{ACC6C9F8-91DF-4DB0-8B38-437B2CABBB16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rgbClr val="E857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For discussion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0" name="Illustrative [Sticker]" hidden="1">
            <a:extLst>
              <a:ext uri="{FF2B5EF4-FFF2-40B4-BE49-F238E27FC236}">
                <a16:creationId xmlns:a16="http://schemas.microsoft.com/office/drawing/2014/main" id="{08668850-F042-468B-9813-9A5B3CC938C5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Illustrative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" name="MSIPCMContentMarking" descr="{&quot;HashCode&quot;:-913944431,&quot;Placement&quot;:&quot;Header&quot;,&quot;Top&quot;:0.0,&quot;Left&quot;:640.5311,&quot;SlideWidth&quot;:720,&quot;SlideHeight&quot;:405}">
            <a:extLst>
              <a:ext uri="{FF2B5EF4-FFF2-40B4-BE49-F238E27FC236}">
                <a16:creationId xmlns:a16="http://schemas.microsoft.com/office/drawing/2014/main" id="{E8F2DDB0-1C53-40E6-9949-A6815ECF2C53}"/>
              </a:ext>
            </a:extLst>
          </p:cNvPr>
          <p:cNvSpPr txBox="1"/>
          <p:nvPr userDrawn="1"/>
        </p:nvSpPr>
        <p:spPr>
          <a:xfrm>
            <a:off x="8134745" y="0"/>
            <a:ext cx="1009255" cy="2864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lnSpc>
                <a:spcPct val="96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4099DA"/>
                </a:solidFill>
                <a:latin typeface="Arial Black" panose="020B0A04020102020204" pitchFamily="34" charset="0"/>
              </a:rPr>
              <a:t>INTERNAL</a:t>
            </a:r>
            <a:endParaRPr lang="en-GB" sz="1000" dirty="0">
              <a:solidFill>
                <a:srgbClr val="4099DA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67" r:id="rId2"/>
    <p:sldLayoutId id="2147483768" r:id="rId3"/>
    <p:sldLayoutId id="2147483769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7" r:id="rId10"/>
    <p:sldLayoutId id="2147483772" r:id="rId11"/>
    <p:sldLayoutId id="2147483766" r:id="rId12"/>
    <p:sldLayoutId id="2147483728" r:id="rId13"/>
    <p:sldLayoutId id="2147483731" r:id="rId14"/>
    <p:sldLayoutId id="2147483737" r:id="rId15"/>
    <p:sldLayoutId id="2147483739" r:id="rId16"/>
    <p:sldLayoutId id="2147483736" r:id="rId17"/>
    <p:sldLayoutId id="2147483750" r:id="rId18"/>
    <p:sldLayoutId id="2147483734" r:id="rId19"/>
    <p:sldLayoutId id="2147483735" r:id="rId20"/>
    <p:sldLayoutId id="2147483771" r:id="rId21"/>
    <p:sldLayoutId id="2147483727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654" r:id="rId29"/>
    <p:sldLayoutId id="2147483655" r:id="rId30"/>
    <p:sldLayoutId id="2147483758" r:id="rId31"/>
    <p:sldLayoutId id="2147483759" r:id="rId32"/>
    <p:sldLayoutId id="2147483760" r:id="rId33"/>
    <p:sldLayoutId id="2147483761" r:id="rId34"/>
  </p:sldLayoutIdLst>
  <p:hf sldNum="0" hdr="0" ft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2000" b="1" i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216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baseline="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3" userDrawn="1">
          <p15:clr>
            <a:srgbClr val="F26B43"/>
          </p15:clr>
        </p15:guide>
        <p15:guide id="4" orient="horz" pos="3104" userDrawn="1">
          <p15:clr>
            <a:srgbClr val="F26B43"/>
          </p15:clr>
        </p15:guide>
        <p15:guide id="5" pos="272" userDrawn="1">
          <p15:clr>
            <a:srgbClr val="F26B43"/>
          </p15:clr>
        </p15:guide>
        <p15:guide id="7" orient="horz" pos="647" userDrawn="1">
          <p15:clr>
            <a:srgbClr val="F26B43"/>
          </p15:clr>
        </p15:guide>
        <p15:guide id="8" orient="horz" pos="2803" userDrawn="1">
          <p15:clr>
            <a:srgbClr val="F26B43"/>
          </p15:clr>
        </p15:guide>
        <p15:guide id="9" pos="5487" userDrawn="1">
          <p15:clr>
            <a:srgbClr val="F26B43"/>
          </p15:clr>
        </p15:guide>
        <p15:guide id="10" orient="horz" pos="158" userDrawn="1">
          <p15:clr>
            <a:srgbClr val="F26B43"/>
          </p15:clr>
        </p15:guide>
        <p15:guide id="11" orient="horz" pos="521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slideLayout" Target="../slideLayouts/slideLayout2.xm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tags" Target="../tags/tag35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slideLayout" Target="../slideLayouts/slideLayout11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/>
              <a:t>Team portfolio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336CE5B1-A935-4461-BDC8-98F51AA279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dirty="0"/>
              <a:t>PL Software Engineering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41138-A68D-4DD9-A6F6-2EA9043A07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3F1CF-EB3C-4027-8AD2-851F42F864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8764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5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30132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6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0409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7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3599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Main</a:t>
            </a:r>
            <a:r>
              <a:rPr lang="pl-PL" dirty="0"/>
              <a:t> </a:t>
            </a:r>
            <a:r>
              <a:rPr lang="pl-PL" dirty="0" err="1"/>
              <a:t>Competency</a:t>
            </a:r>
            <a:r>
              <a:rPr lang="pl-PL" dirty="0"/>
              <a:t> &amp; </a:t>
            </a:r>
            <a:r>
              <a:rPr lang="pl-PL" dirty="0" err="1"/>
              <a:t>Skill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FF9C739-C60B-948D-5E18-5BE5FAAAC70A}"/>
              </a:ext>
            </a:extLst>
          </p:cNvPr>
          <p:cNvSpPr/>
          <p:nvPr/>
        </p:nvSpPr>
        <p:spPr>
          <a:xfrm>
            <a:off x="432000" y="82800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Education</a:t>
            </a:r>
            <a:endParaRPr lang="pl-PL" sz="1300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F51B62C-1E5E-D78A-21DD-EF6A4E16181E}"/>
              </a:ext>
            </a:extLst>
          </p:cNvPr>
          <p:cNvSpPr/>
          <p:nvPr/>
        </p:nvSpPr>
        <p:spPr>
          <a:xfrm>
            <a:off x="2521150" y="8270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Experienc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C1BC5FF-39E9-AF33-4F02-3283E04C6493}"/>
              </a:ext>
            </a:extLst>
          </p:cNvPr>
          <p:cNvSpPr/>
          <p:nvPr/>
        </p:nvSpPr>
        <p:spPr>
          <a:xfrm>
            <a:off x="4717806" y="8270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4AEB43D-2797-6134-B432-BBD5C71802A7}"/>
              </a:ext>
            </a:extLst>
          </p:cNvPr>
          <p:cNvSpPr/>
          <p:nvPr/>
        </p:nvSpPr>
        <p:spPr>
          <a:xfrm>
            <a:off x="6913075" y="82708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Area</a:t>
            </a:r>
            <a:r>
              <a:rPr lang="pl-PL" sz="1300" dirty="0"/>
              <a:t> of </a:t>
            </a:r>
            <a:r>
              <a:rPr lang="pl-PL" sz="1300" dirty="0" err="1"/>
              <a:t>interest</a:t>
            </a:r>
            <a:endParaRPr lang="pl-PL" sz="1300" noProof="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7A80285-C40E-E96F-51A1-8D689D52790E}"/>
              </a:ext>
            </a:extLst>
          </p:cNvPr>
          <p:cNvSpPr/>
          <p:nvPr/>
        </p:nvSpPr>
        <p:spPr>
          <a:xfrm>
            <a:off x="431800" y="1530534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D8988C-ADEE-3839-A5C7-4EAE91C3C671}"/>
              </a:ext>
            </a:extLst>
          </p:cNvPr>
          <p:cNvSpPr/>
          <p:nvPr/>
        </p:nvSpPr>
        <p:spPr>
          <a:xfrm>
            <a:off x="2520950" y="1529622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DD9BD14-79CB-7FA2-4B96-5455AEC0F607}"/>
              </a:ext>
            </a:extLst>
          </p:cNvPr>
          <p:cNvSpPr/>
          <p:nvPr/>
        </p:nvSpPr>
        <p:spPr>
          <a:xfrm>
            <a:off x="4717606" y="1529622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458282-D2D2-B200-092E-7828648B5BA3}"/>
              </a:ext>
            </a:extLst>
          </p:cNvPr>
          <p:cNvSpPr/>
          <p:nvPr/>
        </p:nvSpPr>
        <p:spPr>
          <a:xfrm>
            <a:off x="6912875" y="1529621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01679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1987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320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7568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1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t>111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t>111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t>1111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t>1111</a:t>
            </a:r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6221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2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44265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3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5037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4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5839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1/4 [1]&quot; Source=&quot;Harvey 4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2/4 [2]&quot; Source=&quot;Harvey 4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3/4 [3]&quot; Source=&quot;Harvey 4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/4 [4]&quot; Source=&quot;Harvey 4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0/8 [0]&quot; Source=&quot;Harvey 8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1/8 [1]&quot; Source=&quot;Harvey 8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2/8 [2]&quot; Source=&quot;Harvey 8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3/8 [3]&quot; Source=&quot;Harvey 8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4/8 [4]&quot; Source=&quot;Harvey 8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5/8 [5]&quot; Source=&quot;Harvey 8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&quot; Source=&quot;Harvey 8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6/8 [6]&quot; Source=&quot;Harvey 8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7/8 [7]&quot; Source=&quot;Harvey 8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/8 [8]&quot; Source=&quot;Harvey 8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&quot; Source=&quot;Harvey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&quot; Source=&quot;Harvey 3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0/3 [0]&quot; Source=&quot;Harvey 3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1/3 [1]&quot; Source=&quot;Harvey 3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2/3 [2]&quot; Source=&quot;Harvey 3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/3 [3]&quot; Source=&quot;Harvey 3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0/4 [0]&quot; Source=&quot;Harvey 4&quot; /&gt;"/>
</p:tagLst>
</file>

<file path=ppt/theme/theme1.xml><?xml version="1.0" encoding="utf-8"?>
<a:theme xmlns:a="http://schemas.openxmlformats.org/drawingml/2006/main" name="Orsted">
  <a:themeElements>
    <a:clrScheme name="Orsted 2021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2021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16-9 Orsted Standard - Orsted Office Sans.pptx" id="{D674062B-F116-4539-B93F-80A252139B4E}" vid="{501DEE4C-7CE8-4E01-83A2-CDD3443A5E48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Decafy xmlns="d28a985e-5dd5-4de5-8d45-33c71db132d5">false</IsDecafy>
    <_dlc_DocId xmlns="b9fa2689-23e1-470a-a57e-b1145bf90d8a">Deca00003229-972600388-12685</_dlc_DocId>
    <_dlc_DocIdUrl xmlns="b9fa2689-23e1-470a-a57e-b1145bf90d8a">
      <Url>https://dongenergy.sharepoint.com/sites/WSClientDoc/_layouts/15/DocIdRedir.aspx?ID=Deca00003229-972600388-12685</Url>
      <Description>Deca00003229-972600388-12685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A43072E641F443A8FF06C6F6FAB00C" ma:contentTypeVersion="12" ma:contentTypeDescription="Create a new document." ma:contentTypeScope="" ma:versionID="44f7f8b9bcd875eb0177f86d65eb8c66">
  <xsd:schema xmlns:xsd="http://www.w3.org/2001/XMLSchema" xmlns:xs="http://www.w3.org/2001/XMLSchema" xmlns:p="http://schemas.microsoft.com/office/2006/metadata/properties" xmlns:ns2="b9fa2689-23e1-470a-a57e-b1145bf90d8a" xmlns:ns3="d28a985e-5dd5-4de5-8d45-33c71db132d5" targetNamespace="http://schemas.microsoft.com/office/2006/metadata/properties" ma:root="true" ma:fieldsID="274fda35af0db3fea021229faa95f249" ns2:_="" ns3:_="">
    <xsd:import namespace="b9fa2689-23e1-470a-a57e-b1145bf90d8a"/>
    <xsd:import namespace="d28a985e-5dd5-4de5-8d45-33c71db132d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IsDecafy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a2689-23e1-470a-a57e-b1145bf90d8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a985e-5dd5-4de5-8d45-33c71db132d5" elementFormDefault="qualified">
    <xsd:import namespace="http://schemas.microsoft.com/office/2006/documentManagement/types"/>
    <xsd:import namespace="http://schemas.microsoft.com/office/infopath/2007/PartnerControls"/>
    <xsd:element name="IsDecafy" ma:index="11" nillable="true" ma:displayName="IsDecafy" ma:default="true" ma:description="This is a hidden column to identify if the Library has Decafy." ma:hidden="true" ma:internalName="IsDecafy">
      <xsd:simpleType>
        <xsd:restriction base="dms:Boolean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AB38F9-0158-4662-BB5F-013E209211C7}">
  <ds:schemaRefs>
    <ds:schemaRef ds:uri="http://purl.org/dc/terms/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9fa2689-23e1-470a-a57e-b1145bf90d8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78E6830-2DA2-47BA-AFF8-12996D7D24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E6D29AB-971F-47DA-9B81-9A346C5A1A1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695FD6D3-617E-4D46-AB12-0659D90231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fa2689-23e1-470a-a57e-b1145bf90d8a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</TotalTime>
  <Words>158</Words>
  <Application>Microsoft Office PowerPoint</Application>
  <PresentationFormat>On-screen Show (16:9)</PresentationFormat>
  <Paragraphs>129</Paragraphs>
  <Slides>12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Orsted</vt:lpstr>
      <vt:lpstr>Team portfolio</vt:lpstr>
      <vt:lpstr>Main Competency &amp; Skills</vt:lpstr>
      <vt:lpstr>Team</vt:lpstr>
      <vt:lpstr>Team</vt:lpstr>
      <vt:lpstr>Team</vt:lpstr>
      <vt:lpstr>Team (1/7)</vt:lpstr>
      <vt:lpstr>Team (2/7)</vt:lpstr>
      <vt:lpstr>Team (3/7)</vt:lpstr>
      <vt:lpstr>Team (4/7)</vt:lpstr>
      <vt:lpstr>Team (5/7)</vt:lpstr>
      <vt:lpstr>Team (6/7)</vt:lpstr>
      <vt:lpstr>Team (7/7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Kowalska</dc:creator>
  <cp:keywords/>
  <cp:lastModifiedBy>Karolina Kowalska</cp:lastModifiedBy>
  <cp:revision>2</cp:revision>
  <dcterms:created xsi:type="dcterms:W3CDTF">2023-10-20T12:25:09Z</dcterms:created>
  <dcterms:modified xsi:type="dcterms:W3CDTF">2023-10-20T12:43:1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1-10-04T12:47:59.7346127Z</vt:lpwstr>
  </property>
  <property fmtid="{D5CDD505-2E9C-101B-9397-08002B2CF9AE}" pid="3" name="ContentTypeId">
    <vt:lpwstr>0x010100DCA43072E641F443A8FF06C6F6FAB00C</vt:lpwstr>
  </property>
  <property fmtid="{D5CDD505-2E9C-101B-9397-08002B2CF9AE}" pid="4" name="_dlc_DocIdItemGuid">
    <vt:lpwstr>419b5c9a-0e58-4676-828f-997d030c5461</vt:lpwstr>
  </property>
  <property fmtid="{D5CDD505-2E9C-101B-9397-08002B2CF9AE}" pid="5" name="MSIP_Label_b8d9a29f-7d17-4193-85e4-1bef0fc2e901_Enabled">
    <vt:lpwstr>true</vt:lpwstr>
  </property>
  <property fmtid="{D5CDD505-2E9C-101B-9397-08002B2CF9AE}" pid="6" name="MSIP_Label_b8d9a29f-7d17-4193-85e4-1bef0fc2e901_SetDate">
    <vt:lpwstr>2023-01-26T05:00:08Z</vt:lpwstr>
  </property>
  <property fmtid="{D5CDD505-2E9C-101B-9397-08002B2CF9AE}" pid="7" name="MSIP_Label_b8d9a29f-7d17-4193-85e4-1bef0fc2e901_Method">
    <vt:lpwstr>Standard</vt:lpwstr>
  </property>
  <property fmtid="{D5CDD505-2E9C-101B-9397-08002B2CF9AE}" pid="8" name="MSIP_Label_b8d9a29f-7d17-4193-85e4-1bef0fc2e901_Name">
    <vt:lpwstr>b8d9a29f-7d17-4193-85e4-1bef0fc2e901</vt:lpwstr>
  </property>
  <property fmtid="{D5CDD505-2E9C-101B-9397-08002B2CF9AE}" pid="9" name="MSIP_Label_b8d9a29f-7d17-4193-85e4-1bef0fc2e901_SiteId">
    <vt:lpwstr>100b3c99-f3e2-4da0-9c8a-b9d345742c36</vt:lpwstr>
  </property>
  <property fmtid="{D5CDD505-2E9C-101B-9397-08002B2CF9AE}" pid="10" name="MSIP_Label_b8d9a29f-7d17-4193-85e4-1bef0fc2e901_ActionId">
    <vt:lpwstr>25fefe53-adc1-421d-86aa-12f2411af06e</vt:lpwstr>
  </property>
  <property fmtid="{D5CDD505-2E9C-101B-9397-08002B2CF9AE}" pid="11" name="MSIP_Label_b8d9a29f-7d17-4193-85e4-1bef0fc2e901_ContentBits">
    <vt:lpwstr>1</vt:lpwstr>
  </property>
</Properties>
</file>